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75" r:id="rId4"/>
    <p:sldMasterId id="2147483892" r:id="rId5"/>
    <p:sldMasterId id="2147483901" r:id="rId6"/>
    <p:sldMasterId id="2147483907" r:id="rId7"/>
    <p:sldMasterId id="2147483987" r:id="rId8"/>
    <p:sldMasterId id="2147484001" r:id="rId9"/>
    <p:sldMasterId id="2147484020" r:id="rId10"/>
    <p:sldMasterId id="2147484039" r:id="rId11"/>
    <p:sldMasterId id="2147484104" r:id="rId12"/>
    <p:sldMasterId id="2147484128" r:id="rId13"/>
  </p:sldMasterIdLst>
  <p:notesMasterIdLst>
    <p:notesMasterId r:id="rId15"/>
  </p:notesMasterIdLst>
  <p:handoutMasterIdLst>
    <p:handoutMasterId r:id="rId16"/>
  </p:handoutMasterIdLst>
  <p:sldIdLst>
    <p:sldId id="2145705891" r:id="rId14"/>
  </p:sldIdLst>
  <p:sldSz cx="9144000" cy="5143500" type="screen16x9"/>
  <p:notesSz cx="6858000" cy="9144000"/>
  <p:custDataLst>
    <p:tags r:id="rId17"/>
  </p:custDataLst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1123" userDrawn="1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5CA3"/>
    <a:srgbClr val="D1DFEC"/>
    <a:srgbClr val="ECEEF6"/>
    <a:srgbClr val="99B0D9"/>
    <a:srgbClr val="6474B0"/>
    <a:srgbClr val="ACB216"/>
    <a:srgbClr val="8193C5"/>
    <a:srgbClr val="D54D71"/>
    <a:srgbClr val="5665A6"/>
    <a:srgbClr val="2BB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89706" autoAdjust="0"/>
  </p:normalViewPr>
  <p:slideViewPr>
    <p:cSldViewPr snapToGrid="0">
      <p:cViewPr varScale="1">
        <p:scale>
          <a:sx n="90" d="100"/>
          <a:sy n="90" d="100"/>
        </p:scale>
        <p:origin x="756" y="78"/>
      </p:cViewPr>
      <p:guideLst>
        <p:guide orient="horz" pos="112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036D0C4-A829-4E3B-AEB6-4E1EC02BE22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47761B1-5476-4C05-811C-32895DA48D8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F3C251-21EE-474A-AC95-1743284AFC9A}" type="datetimeFigureOut">
              <a:rPr lang="fr-FR" smtClean="0"/>
              <a:t>10/08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7005FB-95EE-43EB-A1FE-A0760C78A5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9DC9D2-4148-4537-B273-B40B681905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CD4A23-7C0F-40A3-AF82-5DECD791EF39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749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9DBD7E-BBC0-CB4E-A9CE-047F9A58E69D}" type="datetimeFigureOut">
              <a:rPr lang="fr-FR" smtClean="0"/>
              <a:t>10/08/2021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92C17-AD08-4E4C-AB6D-1035F7AC396F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1702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792C17-AD08-4E4C-AB6D-1035F7AC396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394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2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0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4" Type="http://schemas.openxmlformats.org/officeDocument/2006/relationships/image" Target="../media/image8.emf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2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0.jpe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Relationship Id="rId4" Type="http://schemas.openxmlformats.org/officeDocument/2006/relationships/image" Target="../media/image7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Relationship Id="rId4" Type="http://schemas.openxmlformats.org/officeDocument/2006/relationships/image" Target="../media/image7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4" Type="http://schemas.openxmlformats.org/officeDocument/2006/relationships/image" Target="../media/image8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4" Type="http://schemas.openxmlformats.org/officeDocument/2006/relationships/image" Target="../media/image7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4" y="4539425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0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7216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48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74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5090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0" y="273601"/>
            <a:ext cx="8418875" cy="3877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60040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23"/>
          <p:cNvSpPr>
            <a:spLocks noGrp="1"/>
          </p:cNvSpPr>
          <p:nvPr>
            <p:ph type="dt" sz="half" idx="18"/>
          </p:nvPr>
        </p:nvSpPr>
        <p:spPr>
          <a:xfrm>
            <a:off x="7713499" y="4831200"/>
            <a:ext cx="776690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5" name="Espace réservé du pied de page 24"/>
          <p:cNvSpPr>
            <a:spLocks noGrp="1"/>
          </p:cNvSpPr>
          <p:nvPr>
            <p:ph type="ftr" sz="quarter" idx="19"/>
          </p:nvPr>
        </p:nvSpPr>
        <p:spPr>
          <a:xfrm>
            <a:off x="2108863" y="4831200"/>
            <a:ext cx="5781302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B747B"/>
                </a:solidFill>
              </a:rPr>
              <a:t>EM Quaterly analysis</a:t>
            </a:r>
            <a:endParaRPr lang="fr-FR">
              <a:solidFill>
                <a:srgbClr val="6B747B"/>
              </a:solidFill>
            </a:endParaRPr>
          </a:p>
        </p:txBody>
      </p:sp>
      <p:sp>
        <p:nvSpPr>
          <p:cNvPr id="6" name="Espace réservé du numéro de diapositive 2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F9DDA-A648-48BD-84EF-C81321045F2D}" type="slidenum">
              <a:rPr lang="fr-FR">
                <a:solidFill>
                  <a:srgbClr val="6B747B"/>
                </a:solidFill>
              </a:rPr>
              <a:pPr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37897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53235D-ECDA-4367-B580-9E75FFE2C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640080-CE6A-4D76-A543-183BD2B0E6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CAFA11D-B242-42A5-BABB-73E4C56222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D2F7C57-FE8A-412D-95F7-CB1397FA3BC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71FAA40-F72B-48E6-B95B-1618D9042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62643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F61FD8-B1B7-4EF8-BBD4-2DC255080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472FD8-5099-4003-B5BD-DC7BB098FD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FC1A9F9-CA82-49D5-BC5C-6C00B05D38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F48BF83-B3BD-40CD-A12B-F09F657D9E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4A0B23-7A36-4FD4-B892-290795606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111887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9FE9F7-FBB9-4F42-B0D0-4FFE9388E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5C13FF3-7D84-4AC7-9AEB-ED405129DD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033BB0E-D28C-490F-90AF-152B1309E1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71FF7FD-DB3B-44D9-92CC-812538D18F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7D9FCCF-0EC9-4217-8BC2-CAE42114A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7991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9725441-06CB-4A03-88F3-0B7DE507A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1D5C402-EA2D-4340-8BB4-D8EC9BA28A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BB02B6D-F3E0-4CCC-97EC-3AC30803C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550C4E-BAB9-470A-9051-18B07727FB6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3075D03-58FC-4B08-88A6-1CC909CCA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762F99-8634-463F-94B3-871878236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E952F43-2D83-45C8-BC9E-741BFC71C1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9E1139A-A96F-4708-94DB-0862E88BC4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33C676-9A81-4DA0-A351-2700C504F02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7F67146-24E9-4699-B6D0-77E288703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5FEA91-02AB-4EFE-B9A4-707DFF8F1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5E7760B-7243-4B54-A159-1C3C91A7B3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CCC9874-E13F-418A-A602-9ADE1608FD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D8CED6-C440-45B3-B2EA-8524147B6B5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55360C-A9A0-4CE1-8BFD-82046D365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3E0DB5E-BCE3-4D08-AAD7-D64BB8C17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12E023-12C2-484C-B176-93C8143611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90B7DE1-A221-4E16-AE4F-CE7B775A27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A596553-608D-4B8F-8748-336C8A3E787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120560-7AEB-464F-B4C4-15553314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63E473-CAE7-4774-8C4C-6E0ED5343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7507B03-6D71-496E-90BF-2E45B2D322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CED7F57-E2AD-4ECB-9FE5-EF4F91ACC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BA0E260-0901-47DF-914C-A1D420A2982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ADA757A-922D-4599-B099-B734F5677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71FC02-70CB-4CED-840A-63F4FB59B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B7C133B-842C-4EB4-BB0C-24C09CF7F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1738DF6-6DC7-4F1A-9F9E-334A5CF5FC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B2E1718-7E7E-46BF-9B31-AAE026B312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45879C2-B512-4EAE-AF9A-D4400D3A8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586141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4" y="1841467"/>
            <a:ext cx="4213225" cy="109250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2526857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nonecto</a:t>
            </a:r>
            <a:endParaRPr lang="fr-FR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1" y="1578332"/>
            <a:ext cx="4213225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1" y="2276879"/>
            <a:ext cx="4213225" cy="78866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6" y="3229514"/>
            <a:ext cx="4219802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928062"/>
            <a:ext cx="4219802" cy="767764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3395207"/>
            <a:ext cx="4203607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3650534"/>
            <a:ext cx="4203607" cy="104529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32381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D93C4D-4C4A-4E84-9D02-24C8E3678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AC9FCDE-6E4D-4446-A837-E083892BE9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1577C68-D462-4A1F-AE8F-523FDABA27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C2680AC-55C3-4DF1-B30A-DB6F121F2B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50EC46E-74C5-44F6-9A9F-BF12AF153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1B9B11-EB31-4862-9E30-8EE654662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1C203DB-524D-4D95-8765-9131B08E22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7C6AE6B-E3B6-42A4-AFA5-C52F4E4D3B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C3739B0-047A-4477-A8BD-C012D0F5437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833EF01-DAD3-4E1E-B549-71EBAF844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355AC3-469A-4D44-AAE5-9CD20DAC2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2224D02-FD19-4BC1-8290-4F6298B4B5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1A1243-DFB4-4778-A6FF-4A0497A65F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76D8F89-E318-4E0B-9E0D-DB53F05DE5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8E3DB7D-2EA1-4447-B7BA-97E4BBB7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55691E-1F9A-40AC-A85B-9175D0050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9411746-B780-416D-A2C5-23B23A36A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25D4C8A-0861-4E4D-B83A-6C82B84308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F59BB61-917E-4A99-934A-C990C79441F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BB33F26-4E9E-4AF2-8DF0-F453B625B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4D4084-9B06-4E5C-913C-7C41516FB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34DBEFB-6ADC-485B-AA87-9401E55AF1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F645729-6A97-4D46-A430-F02649D76C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C3CEE3E-46A8-48F7-AFEC-4DC77A68849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29058F3-BDE4-4D4C-A9B1-E7B954D62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erci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237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7702" y="4539425"/>
            <a:ext cx="6023247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7703" y="4068000"/>
            <a:ext cx="6019300" cy="443198"/>
          </a:xfrm>
          <a:prstGeom prst="rect">
            <a:avLst/>
          </a:prstGeo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Titre</a:t>
            </a:r>
            <a:r>
              <a:rPr lang="en-US" noProof="0"/>
              <a:t> de la </a:t>
            </a:r>
            <a:r>
              <a:rPr lang="en-US" noProof="0" err="1"/>
              <a:t>présentation</a:t>
            </a:r>
            <a:r>
              <a:rPr lang="en-US" noProof="0"/>
              <a:t>, corps 32</a:t>
            </a: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8321"/>
            <a:ext cx="2227262" cy="27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81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0"/>
            <a:ext cx="5987325" cy="443198"/>
          </a:xfrm>
          <a:prstGeom prst="rect">
            <a:avLst/>
          </a:prstGeo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err="1"/>
              <a:t>Ouverture</a:t>
            </a:r>
            <a:r>
              <a:rPr lang="en-US" noProof="0"/>
              <a:t> de </a:t>
            </a:r>
            <a:r>
              <a:rPr lang="en-US" noProof="0" err="1"/>
              <a:t>chapitre</a:t>
            </a:r>
            <a:r>
              <a:rPr lang="en-US" noProof="0"/>
              <a:t>, corps 32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0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4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8321"/>
            <a:ext cx="2227262" cy="27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417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76249"/>
            <a:ext cx="8420100" cy="564257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ts val="2200"/>
              </a:lnSpc>
              <a:defRPr sz="2200"/>
            </a:lvl1pPr>
          </a:lstStyle>
          <a:p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  <a:br>
              <a:rPr lang="en-US" noProof="0"/>
            </a:br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8420101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err="1"/>
              <a:t>Texte</a:t>
            </a:r>
            <a:r>
              <a:rPr lang="en-US" noProof="0"/>
              <a:t> 1er </a:t>
            </a:r>
            <a:r>
              <a:rPr lang="en-US" noProof="0" err="1"/>
              <a:t>niveau</a:t>
            </a:r>
            <a:r>
              <a:rPr lang="en-US" noProof="0"/>
              <a:t>, corps 18</a:t>
            </a:r>
          </a:p>
          <a:p>
            <a:pPr lvl="1"/>
            <a:r>
              <a:rPr lang="en-US" noProof="0" err="1"/>
              <a:t>Texte</a:t>
            </a:r>
            <a:r>
              <a:rPr lang="en-US" noProof="0"/>
              <a:t> 2e </a:t>
            </a:r>
            <a:r>
              <a:rPr lang="en-US" noProof="0" err="1"/>
              <a:t>niveau</a:t>
            </a:r>
            <a:r>
              <a:rPr lang="en-US" noProof="0"/>
              <a:t>, corps 16</a:t>
            </a:r>
          </a:p>
          <a:p>
            <a:pPr lvl="2"/>
            <a:r>
              <a:rPr lang="en-US" noProof="0" err="1"/>
              <a:t>Texte</a:t>
            </a:r>
            <a:r>
              <a:rPr lang="en-US" noProof="0"/>
              <a:t> 3e </a:t>
            </a:r>
            <a:r>
              <a:rPr lang="en-US" noProof="0" err="1"/>
              <a:t>niveau</a:t>
            </a:r>
            <a:r>
              <a:rPr lang="en-US" noProof="0"/>
              <a:t>, corps 14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70834"/>
            <a:ext cx="8420101" cy="461665"/>
          </a:xfrm>
        </p:spPr>
        <p:txBody>
          <a:bodyPr anchor="ctr">
            <a:spAutoFit/>
          </a:bodyPr>
          <a:lstStyle>
            <a:lvl1pPr marL="0" marR="0" indent="0" algn="l" defTabSz="685800" rtl="0" eaLnBrk="1" fontAlgn="auto" latinLnBrk="0" hangingPunct="1">
              <a:lnSpc>
                <a:spcPts val="18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18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  <a:br>
              <a:rPr lang="en-US" noProof="0"/>
            </a:br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SEPTEMBER 202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0669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0" y="987425"/>
            <a:ext cx="4206875" cy="3708400"/>
          </a:xfrm>
        </p:spPr>
        <p:txBody>
          <a:bodyPr/>
          <a:lstStyle/>
          <a:p>
            <a:endParaRPr lang="fr-FR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987425"/>
            <a:ext cx="3939453" cy="3708400"/>
          </a:xfrm>
        </p:spPr>
        <p:txBody>
          <a:bodyPr anchor="ctr"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err="1"/>
              <a:t>Texte</a:t>
            </a:r>
            <a:r>
              <a:rPr lang="en-US" noProof="0"/>
              <a:t> 1er </a:t>
            </a:r>
            <a:r>
              <a:rPr lang="en-US" noProof="0" err="1"/>
              <a:t>niveau</a:t>
            </a:r>
            <a:r>
              <a:rPr lang="en-US" noProof="0"/>
              <a:t>, corps 18</a:t>
            </a:r>
          </a:p>
          <a:p>
            <a:pPr lvl="1"/>
            <a:r>
              <a:rPr lang="en-US" noProof="0" err="1"/>
              <a:t>Texte</a:t>
            </a:r>
            <a:r>
              <a:rPr lang="en-US" noProof="0"/>
              <a:t> 2e </a:t>
            </a:r>
            <a:r>
              <a:rPr lang="en-US" noProof="0" err="1"/>
              <a:t>niveau</a:t>
            </a:r>
            <a:r>
              <a:rPr lang="en-US" noProof="0"/>
              <a:t>, corps 16</a:t>
            </a:r>
          </a:p>
          <a:p>
            <a:pPr lvl="2"/>
            <a:r>
              <a:rPr lang="en-US" noProof="0" err="1"/>
              <a:t>Texte</a:t>
            </a:r>
            <a:r>
              <a:rPr lang="en-US" noProof="0"/>
              <a:t> 3e </a:t>
            </a:r>
            <a:r>
              <a:rPr lang="en-US" noProof="0" err="1"/>
              <a:t>niveau</a:t>
            </a:r>
            <a:r>
              <a:rPr lang="en-US" noProof="0"/>
              <a:t>, corps 14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76249"/>
            <a:ext cx="8420100" cy="564257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ts val="2200"/>
              </a:lnSpc>
              <a:defRPr sz="2200"/>
            </a:lvl1pPr>
          </a:lstStyle>
          <a:p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  <a:br>
              <a:rPr lang="en-US" noProof="0"/>
            </a:br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70834"/>
            <a:ext cx="8420101" cy="461665"/>
          </a:xfrm>
        </p:spPr>
        <p:txBody>
          <a:bodyPr anchor="ctr">
            <a:spAutoFit/>
          </a:bodyPr>
          <a:lstStyle>
            <a:lvl1pPr marL="0" marR="0" indent="0" algn="l" defTabSz="685800" rtl="0" eaLnBrk="1" fontAlgn="auto" latinLnBrk="0" hangingPunct="1">
              <a:lnSpc>
                <a:spcPts val="18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18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  <a:br>
              <a:rPr lang="en-US" noProof="0"/>
            </a:br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SEPTEMBER 202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7306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388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  <a:prstGeom prst="rect">
            <a:avLst/>
          </a:prstGeo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erci</a:t>
            </a:r>
          </a:p>
        </p:txBody>
      </p:sp>
      <p:pic>
        <p:nvPicPr>
          <p:cNvPr id="10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8321"/>
            <a:ext cx="2227262" cy="27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1942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58775" y="273771"/>
            <a:ext cx="8420101" cy="38779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VACCINES COMMUNICATION -</a:t>
            </a:r>
            <a:endParaRPr lang="en-US">
              <a:solidFill>
                <a:srgbClr val="6B747B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SEPTEMBER 2020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87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0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/>
              <a:t>Ouverture de chapitre, corps 32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0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Sous-titre, corps 24</a:t>
            </a:r>
            <a:endParaRPr lang="en-US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7216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682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0009"/>
            <a:ext cx="8420100" cy="3949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- 1 column, 28 </a:t>
            </a:r>
            <a:r>
              <a:rPr lang="en-US" noProof="0" err="1"/>
              <a:t>pts</a:t>
            </a:r>
            <a:endParaRPr lang="en-US" noProof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SEPTEMBER 2020</a:t>
            </a:r>
            <a:endParaRPr lang="en-US" noProof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ubtitle, 22 </a:t>
            </a:r>
            <a:r>
              <a:rPr lang="en-US" noProof="0" err="1"/>
              <a:t>pts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1502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</p:spTree>
    <p:extLst>
      <p:ext uri="{BB962C8B-B14F-4D97-AF65-F5344CB8AC3E}">
        <p14:creationId xmlns:p14="http://schemas.microsoft.com/office/powerpoint/2010/main" val="3850917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76249"/>
            <a:ext cx="8420100" cy="564257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ts val="2200"/>
              </a:lnSpc>
              <a:defRPr sz="2200"/>
            </a:lvl1pPr>
          </a:lstStyle>
          <a:p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  <a:br>
              <a:rPr lang="en-US" noProof="0"/>
            </a:br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8420101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err="1"/>
              <a:t>Texte</a:t>
            </a:r>
            <a:r>
              <a:rPr lang="en-US" noProof="0"/>
              <a:t> 1er </a:t>
            </a:r>
            <a:r>
              <a:rPr lang="en-US" noProof="0" err="1"/>
              <a:t>niveau</a:t>
            </a:r>
            <a:r>
              <a:rPr lang="en-US" noProof="0"/>
              <a:t>, corps 18</a:t>
            </a:r>
          </a:p>
          <a:p>
            <a:pPr lvl="1"/>
            <a:r>
              <a:rPr lang="en-US" noProof="0" err="1"/>
              <a:t>Texte</a:t>
            </a:r>
            <a:r>
              <a:rPr lang="en-US" noProof="0"/>
              <a:t> 2e </a:t>
            </a:r>
            <a:r>
              <a:rPr lang="en-US" noProof="0" err="1"/>
              <a:t>niveau</a:t>
            </a:r>
            <a:r>
              <a:rPr lang="en-US" noProof="0"/>
              <a:t>, corps 16</a:t>
            </a:r>
          </a:p>
          <a:p>
            <a:pPr lvl="2"/>
            <a:r>
              <a:rPr lang="en-US" noProof="0" err="1"/>
              <a:t>Texte</a:t>
            </a:r>
            <a:r>
              <a:rPr lang="en-US" noProof="0"/>
              <a:t> 3e </a:t>
            </a:r>
            <a:r>
              <a:rPr lang="en-US" noProof="0" err="1"/>
              <a:t>niveau</a:t>
            </a:r>
            <a:r>
              <a:rPr lang="en-US" noProof="0"/>
              <a:t>, corps 14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70834"/>
            <a:ext cx="8420101" cy="461665"/>
          </a:xfrm>
        </p:spPr>
        <p:txBody>
          <a:bodyPr anchor="ctr">
            <a:spAutoFit/>
          </a:bodyPr>
          <a:lstStyle>
            <a:lvl1pPr marL="0" marR="0" indent="0" algn="l" defTabSz="685800" rtl="0" eaLnBrk="1" fontAlgn="auto" latinLnBrk="0" hangingPunct="1">
              <a:lnSpc>
                <a:spcPts val="18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18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  <a:br>
              <a:rPr lang="en-US" noProof="0"/>
            </a:br>
            <a:r>
              <a:rPr lang="en-US" noProof="0"/>
              <a:t>Sous-</a:t>
            </a:r>
            <a:r>
              <a:rPr lang="en-US" noProof="0" err="1"/>
              <a:t>titre</a:t>
            </a:r>
            <a:r>
              <a:rPr lang="en-US" noProof="0"/>
              <a:t>, corps 22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SEPTEMBER 2020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noProof="0"/>
              <a:t>VACCINES COMMUNICATION </a:t>
            </a:r>
            <a:endParaRPr lang="en-US" noProof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3661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62534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13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SEPTEMBER 2020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7506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40000" y="439625"/>
            <a:ext cx="5418977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049231-A4DE-41CA-946D-57B105D5E7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75E8B2-C221-4E3C-95BB-8794C0705124}" type="slidenum">
              <a:rPr lang="en-GB" noProof="0" smtClean="0"/>
              <a:pPr/>
              <a:t>‹Nº›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5BED8-45E6-4434-858B-960325B325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08863" y="4831175"/>
            <a:ext cx="49320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A01D7B5-4492-452C-B16D-8BE03F05B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86650" y="4831175"/>
            <a:ext cx="9360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SEPTEMBER 2020</a:t>
            </a:r>
          </a:p>
        </p:txBody>
      </p:sp>
    </p:spTree>
    <p:extLst>
      <p:ext uri="{BB962C8B-B14F-4D97-AF65-F5344CB8AC3E}">
        <p14:creationId xmlns:p14="http://schemas.microsoft.com/office/powerpoint/2010/main" val="42603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4" y="4539425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0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7216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77862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0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/>
              <a:t>Ouverture de chapitre, corps 32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0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Sous-titre, corps 24</a:t>
            </a:r>
            <a:endParaRPr lang="en-US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8" y="4367216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5498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2" y="1023938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37899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8420101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3771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4" y="1242104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0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0032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2" y="1023938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542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0" y="987426"/>
            <a:ext cx="4206875" cy="370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49126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0" y="987425"/>
            <a:ext cx="4206875" cy="3320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4571999" y="4305029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0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27811842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74" y="1239838"/>
            <a:ext cx="8420101" cy="310673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18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30094749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4" y="1239838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0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7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316657488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74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48642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P Overview – June 2020 - CONFIDENTIAL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586141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4" y="1841467"/>
            <a:ext cx="4213225" cy="109250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2526857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nonecto</a:t>
            </a:r>
            <a:endParaRPr lang="fr-FR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1" y="1578332"/>
            <a:ext cx="4213225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1" y="2276879"/>
            <a:ext cx="4213225" cy="78866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6" y="3229514"/>
            <a:ext cx="4219802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928062"/>
            <a:ext cx="4219802" cy="767764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3395207"/>
            <a:ext cx="4203607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3650534"/>
            <a:ext cx="4203607" cy="104529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699447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ffres clés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44263"/>
            <a:ext cx="9144000" cy="169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VID-19 SP Overview – June 2020 - CONFIDENTIAL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987276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Cor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aut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et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voloreratem</a:t>
            </a:r>
            <a:endParaRPr lang="en-US" noProof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4" y="1242602"/>
            <a:ext cx="4213225" cy="109250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1927992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evelique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nonecto</a:t>
            </a:r>
            <a:endParaRPr lang="en-US" noProof="0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1" y="979467"/>
            <a:ext cx="4213225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1" y="1678014"/>
            <a:ext cx="4213225" cy="78866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mo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mint</a:t>
            </a:r>
          </a:p>
          <a:p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Lo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ra</a:t>
            </a:r>
            <a:endParaRPr lang="en-US" noProof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6" y="2954037"/>
            <a:ext cx="4219802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652585"/>
            <a:ext cx="4219802" cy="767764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mo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mint</a:t>
            </a:r>
          </a:p>
          <a:p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Lo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ra</a:t>
            </a:r>
            <a:endParaRPr lang="en-US" noProof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3119730"/>
            <a:ext cx="4203607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Cor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aut</a:t>
            </a:r>
            <a:r>
              <a:rPr lang="en-US" sz="2000" b="0" i="0" u="none" strike="noStrike" baseline="0" noProof="0">
                <a:solidFill>
                  <a:srgbClr val="FFFFFF"/>
                </a:solidFill>
                <a:latin typeface=""/>
              </a:rPr>
              <a:t> et </a:t>
            </a:r>
            <a:r>
              <a:rPr lang="en-US" sz="2000" b="0" i="0" u="none" strike="noStrike" baseline="0" noProof="0" err="1">
                <a:solidFill>
                  <a:srgbClr val="FFFFFF"/>
                </a:solidFill>
                <a:latin typeface=""/>
              </a:rPr>
              <a:t>voloreratem</a:t>
            </a:r>
            <a:endParaRPr lang="en-US" noProof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3375057"/>
            <a:ext cx="4203607" cy="104529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55106160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  <p15:guide id="3" orient="horz" pos="1699">
          <p15:clr>
            <a:srgbClr val="FBAE40"/>
          </p15:clr>
        </p15:guide>
        <p15:guide id="4" orient="horz" pos="4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erci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63332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5" y="4539426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2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1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/>
              <a:t>Ouverture de chapitre, corps 32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1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r-FR"/>
              <a:t>Sous-titre, corps 24</a:t>
            </a:r>
            <a:endParaRPr lang="en-US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6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8420101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57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3" y="1023939"/>
            <a:ext cx="7597795" cy="3671887"/>
          </a:xfrm>
        </p:spPr>
        <p:txBody>
          <a:bodyPr/>
          <a:lstStyle>
            <a:lvl1pPr marL="166684" indent="-166684">
              <a:spcBef>
                <a:spcPts val="900"/>
              </a:spcBef>
              <a:buFont typeface="Arial" charset="0"/>
              <a:buChar char="•"/>
              <a:tabLst>
                <a:tab pos="8459576" algn="r"/>
              </a:tabLst>
              <a:defRPr sz="1800" b="0" baseline="0"/>
            </a:lvl1pPr>
            <a:lvl2pPr marL="300031" indent="-133347">
              <a:spcBef>
                <a:spcPts val="0"/>
              </a:spcBef>
              <a:buFont typeface="Arial" charset="0"/>
              <a:buChar char="•"/>
              <a:tabLst>
                <a:tab pos="8459789" algn="r"/>
              </a:tabLst>
              <a:defRPr sz="1600"/>
            </a:lvl2pPr>
            <a:lvl3pPr marL="271455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6201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3498CD9-341D-4797-9A1B-B3B86DA1B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37903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3498CD9-341D-4797-9A1B-B3B86DA1B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BE3055-9B90-418A-B5A3-A3114DF3AB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881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E8D1A0CA-F6CD-4F28-9571-F48B42AB0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7354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E8D1A0CA-F6CD-4F28-9571-F48B42AB0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5329CD6-71DA-47FF-BF0D-C16ED384BC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58775" y="1242105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63EC37-D3A5-408C-B337-D95944B23CE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358775" y="-1"/>
            <a:ext cx="8420100" cy="660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5563" rIns="0" bIns="436563" numCol="1" spcCol="0" rtlCol="0" anchor="t" anchorCtr="0">
            <a:noAutofit/>
          </a:bodyPr>
          <a:lstStyle/>
          <a:p>
            <a:pPr marL="0" lvl="1" indent="0" algn="ctr">
              <a:spcBef>
                <a:spcPct val="0"/>
              </a:spcBef>
              <a:spcAft>
                <a:spcPct val="0"/>
              </a:spcAft>
            </a:pPr>
            <a:r>
              <a:rPr kumimoji="0" lang="fr-FR" altLang="en-US" sz="1100" b="0" i="0" u="none" cap="none" baseline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  <a:sym typeface="+mn-lt"/>
              </a:rPr>
              <a:t>CONFIDENTIAL</a:t>
            </a:r>
            <a:endParaRPr kumimoji="0" lang="fr-FR" sz="1100" b="0" i="0" u="none" cap="none" baseline="0">
              <a:solidFill>
                <a:srgbClr val="FF0000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258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40817360-311D-40F9-AB17-419586167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39500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40817360-311D-40F9-AB17-419586167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8A0B5F9-629F-4F98-A4AD-115CCB03E5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1" y="987426"/>
            <a:ext cx="4206875" cy="370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482EDA-4110-4E23-8D01-B2B4A8E7941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358775" y="53975"/>
            <a:ext cx="8420100" cy="1809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12700" numCol="1" spcCol="0" rtlCol="0" anchor="t" anchorCtr="0">
            <a:noAutofit/>
          </a:bodyPr>
          <a:lstStyle/>
          <a:p>
            <a:pPr marL="0" lvl="1" indent="0" algn="ctr">
              <a:spcBef>
                <a:spcPct val="0"/>
              </a:spcBef>
              <a:spcAft>
                <a:spcPct val="0"/>
              </a:spcAft>
            </a:pPr>
            <a:r>
              <a:rPr kumimoji="0" lang="fr-FR" altLang="en-US" sz="1100" b="0" i="0" u="none" cap="none" baseline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  <a:sym typeface="+mn-lt"/>
              </a:rPr>
              <a:t>CONFIDENTIAL</a:t>
            </a:r>
            <a:endParaRPr kumimoji="0" lang="fr-FR" sz="1100" b="0" i="0" u="none" cap="none" baseline="0">
              <a:solidFill>
                <a:srgbClr val="FF0000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50354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1" y="987425"/>
            <a:ext cx="4206875" cy="3320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4305030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4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1849650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75" y="1239838"/>
            <a:ext cx="8420101" cy="310673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19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5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1430433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239839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90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90" y="1709738"/>
            <a:ext cx="8069740" cy="2878119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90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2532654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75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2056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VID-19 Sanofi Pasteur vaccine development plan</a:t>
            </a:r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1586142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1841468"/>
            <a:ext cx="4213225" cy="109250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2526858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nonecto</a:t>
            </a:r>
            <a:endParaRPr lang="fr-FR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2" y="1578332"/>
            <a:ext cx="4213225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2" y="2276880"/>
            <a:ext cx="4213225" cy="78866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7" y="3229514"/>
            <a:ext cx="4219802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7" y="3928062"/>
            <a:ext cx="4219802" cy="767764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1" y="3395208"/>
            <a:ext cx="4203607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1" y="3650535"/>
            <a:ext cx="4203607" cy="104529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88261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erci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61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4" y="1242104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0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39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08928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5" y="4539426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/>
              <a:t>Subtitle, 24 pts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Picture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, 32 pts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31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1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title, 32 pts 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1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hapter subtitle, 24 pts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8092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242105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8093040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697298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picture, 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1" y="1187355"/>
            <a:ext cx="4206875" cy="350847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805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HANK YOU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968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00129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865402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205" indent="-133344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7" indent="0">
              <a:buNone/>
              <a:defRPr/>
            </a:lvl2pPr>
            <a:lvl3pPr marL="685766" indent="0">
              <a:buNone/>
              <a:defRPr/>
            </a:lvl3pPr>
            <a:lvl4pPr marL="1028649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726" y="4830765"/>
            <a:ext cx="31115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85766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685766"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2684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994515"/>
              </p:ext>
            </p:extLst>
          </p:nvPr>
        </p:nvGraphicFramePr>
        <p:xfrm>
          <a:off x="1482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2" y="1192"/>
                        <a:ext cx="1465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grpSp>
        <p:nvGrpSpPr>
          <p:cNvPr id="4" name="McK Title Elements" hidden="1"/>
          <p:cNvGrpSpPr>
            <a:grpSpLocks/>
          </p:cNvGrpSpPr>
          <p:nvPr userDrawn="1"/>
        </p:nvGrpSpPr>
        <p:grpSpPr bwMode="auto">
          <a:xfrm>
            <a:off x="1274900" y="3870743"/>
            <a:ext cx="5476143" cy="470179"/>
            <a:chOff x="1274766" y="4964288"/>
            <a:chExt cx="5477016" cy="627302"/>
          </a:xfrm>
        </p:grpSpPr>
        <p:sp>
          <p:nvSpPr>
            <p:cNvPr id="5" name="McK Document type"/>
            <p:cNvSpPr txBox="1">
              <a:spLocks noChangeArrowheads="1"/>
            </p:cNvSpPr>
            <p:nvPr/>
          </p:nvSpPr>
          <p:spPr bwMode="auto">
            <a:xfrm>
              <a:off x="1274766" y="4964288"/>
              <a:ext cx="5477016" cy="28744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352" eaLnBrk="1" hangingPunct="1">
                <a:defRPr/>
              </a:pPr>
              <a:r>
                <a:rPr lang="en-US" sz="1400">
                  <a:solidFill>
                    <a:srgbClr val="FFFFFF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6" name="McK Date"/>
            <p:cNvSpPr txBox="1">
              <a:spLocks noChangeArrowheads="1"/>
            </p:cNvSpPr>
            <p:nvPr/>
          </p:nvSpPr>
          <p:spPr bwMode="auto">
            <a:xfrm>
              <a:off x="1274766" y="5304149"/>
              <a:ext cx="5477016" cy="28744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352" eaLnBrk="1" hangingPunct="1">
                <a:defRPr/>
              </a:pPr>
              <a:r>
                <a:rPr lang="en-US" sz="1400">
                  <a:solidFill>
                    <a:srgbClr val="FFFFFF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</p:grpSp>
      <p:sp>
        <p:nvSpPr>
          <p:cNvPr id="7" name="Working Draft Text" hidden="1"/>
          <p:cNvSpPr txBox="1">
            <a:spLocks noChangeArrowheads="1"/>
          </p:cNvSpPr>
          <p:nvPr userDrawn="1"/>
        </p:nvSpPr>
        <p:spPr bwMode="auto">
          <a:xfrm>
            <a:off x="1274885" y="629852"/>
            <a:ext cx="993862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 b="1">
                <a:solidFill>
                  <a:srgbClr val="FFFFFF"/>
                </a:solidFill>
                <a:latin typeface="Arial"/>
                <a:ea typeface="ＭＳ Ｐゴシック"/>
              </a:rPr>
              <a:t>WORKING DRAFT</a:t>
            </a:r>
          </a:p>
        </p:txBody>
      </p:sp>
      <p:sp>
        <p:nvSpPr>
          <p:cNvPr id="8" name="Working Draft" hidden="1"/>
          <p:cNvSpPr txBox="1">
            <a:spLocks noChangeArrowheads="1"/>
          </p:cNvSpPr>
          <p:nvPr userDrawn="1"/>
        </p:nvSpPr>
        <p:spPr bwMode="auto">
          <a:xfrm>
            <a:off x="1274896" y="746532"/>
            <a:ext cx="2827697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ＭＳ Ｐゴシック"/>
              </a:rPr>
              <a:t>Last Modified 4/26/2014 10:37 AM India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 userDrawn="1"/>
        </p:nvSpPr>
        <p:spPr bwMode="auto">
          <a:xfrm>
            <a:off x="1274892" y="864405"/>
            <a:ext cx="2507097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ＭＳ Ｐゴシック"/>
              </a:rPr>
              <a:t>Printed 4/26/2014 10:12 AM India Standard Time</a:t>
            </a:r>
          </a:p>
        </p:txBody>
      </p:sp>
      <p:pic>
        <p:nvPicPr>
          <p:cNvPr id="10" name="Picture 66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947" y="585796"/>
            <a:ext cx="8716108" cy="135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oc id"/>
          <p:cNvSpPr>
            <a:spLocks noChangeArrowheads="1"/>
          </p:cNvSpPr>
          <p:nvPr userDrawn="1"/>
        </p:nvSpPr>
        <p:spPr bwMode="auto">
          <a:xfrm>
            <a:off x="8272112" y="28583"/>
            <a:ext cx="657957" cy="91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endParaRPr lang="en-US" altLang="en-US" sz="800">
              <a:solidFill>
                <a:srgbClr val="444492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381011" y="721528"/>
            <a:ext cx="8598877" cy="4786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352">
              <a:defRPr/>
            </a:pPr>
            <a:endParaRPr lang="en-US" sz="1800">
              <a:solidFill>
                <a:srgbClr val="39397C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04802" y="4208869"/>
            <a:ext cx="8598877" cy="4786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352">
              <a:defRPr/>
            </a:pPr>
            <a:endParaRPr lang="en-US" sz="1800">
              <a:solidFill>
                <a:srgbClr val="39397C"/>
              </a:solidFill>
            </a:endParaRPr>
          </a:p>
        </p:txBody>
      </p:sp>
      <p:sp>
        <p:nvSpPr>
          <p:cNvPr id="2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4325" y="243500"/>
            <a:ext cx="871537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8" name="Groupe 17"/>
          <p:cNvGrpSpPr/>
          <p:nvPr userDrawn="1"/>
        </p:nvGrpSpPr>
        <p:grpSpPr>
          <a:xfrm>
            <a:off x="6165120" y="4815788"/>
            <a:ext cx="2274480" cy="173081"/>
            <a:chOff x="6165120" y="4815788"/>
            <a:chExt cx="2274480" cy="173081"/>
          </a:xfrm>
        </p:grpSpPr>
        <p:sp>
          <p:nvSpPr>
            <p:cNvPr id="19" name="Rectangle 3"/>
            <p:cNvSpPr txBox="1"/>
            <p:nvPr userDrawn="1"/>
          </p:nvSpPr>
          <p:spPr>
            <a:xfrm>
              <a:off x="6165120" y="4816514"/>
              <a:ext cx="1258321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fr-FR"/>
              </a:defPPr>
              <a:lvl1pPr lvl="0" indent="0" defTabSz="913526">
                <a:lnSpc>
                  <a:spcPct val="80000"/>
                </a:lnSpc>
                <a:buClr>
                  <a:srgbClr val="BCA36A"/>
                </a:buClr>
                <a:defRPr sz="700" b="0" i="1" baseline="0">
                  <a:solidFill>
                    <a:srgbClr val="646464"/>
                  </a:solidFill>
                  <a:cs typeface="Arial" pitchFamily="34" charset="0"/>
                </a:defRPr>
              </a:lvl1pPr>
              <a:lvl2pPr marL="197607" lvl="1" indent="-195987" defTabSz="913526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cs typeface="Arial" pitchFamily="34" charset="0"/>
                </a:defRPr>
              </a:lvl2pPr>
              <a:lvl3pPr marL="466481" lvl="2" indent="-267255" defTabSz="913526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cs typeface="Arial" pitchFamily="34" charset="0"/>
                </a:defRPr>
              </a:lvl3pPr>
              <a:lvl4pPr marL="626835" lvl="3" indent="-158733" defTabSz="913526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cs typeface="Arial" pitchFamily="34" charset="0"/>
                </a:defRPr>
              </a:lvl4pPr>
              <a:lvl5pPr marL="765029" lvl="4" indent="-132818" defTabSz="913526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9pPr>
            </a:lstStyle>
            <a:p>
              <a:pPr algn="r"/>
              <a:r>
                <a:rPr lang="en-US" sz="700"/>
                <a:t>Do not distribute. Working draft for discussion purpose only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7467600" y="4815788"/>
              <a:ext cx="972000" cy="15168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783"/>
              <a:r>
                <a:rPr lang="fr-FR" sz="1000">
                  <a:solidFill>
                    <a:srgbClr val="FFFFFF"/>
                  </a:solidFill>
                </a:rPr>
                <a:t>CONFIDENTIAL</a:t>
              </a:r>
              <a:endParaRPr lang="en-US" sz="1000">
                <a:solidFill>
                  <a:srgbClr val="FFFFFF"/>
                </a:solidFill>
              </a:endParaRPr>
            </a:p>
          </p:txBody>
        </p:sp>
      </p:grp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444492"/>
                </a:solidFill>
              </a:rPr>
              <a:pPr/>
              <a:t>‹Nº›</a:t>
            </a:fld>
            <a:endParaRPr lang="fr-FR">
              <a:solidFill>
                <a:srgbClr val="444492"/>
              </a:solidFill>
            </a:endParaRPr>
          </a:p>
        </p:txBody>
      </p: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6927"/>
            <a:ext cx="1748862" cy="2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839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0" y="987426"/>
            <a:ext cx="4206875" cy="370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0396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85" indent="-133338">
              <a:buSzPct val="8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75" indent="0">
              <a:buNone/>
              <a:defRPr/>
            </a:lvl2pPr>
            <a:lvl3pPr marL="685732" indent="0">
              <a:buNone/>
              <a:defRPr/>
            </a:lvl3pPr>
            <a:lvl4pPr marL="1028598" indent="0">
              <a:buNone/>
              <a:defRPr/>
            </a:lvl4pPr>
            <a:lvl5pPr marL="137146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564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6631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64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8868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>
                <a:solidFill>
                  <a:srgbClr val="6B747B"/>
                </a:solidFill>
              </a:rPr>
              <a:t>Strat</a:t>
            </a:r>
            <a:r>
              <a:rPr lang="fr-FR">
                <a:solidFill>
                  <a:srgbClr val="6B747B"/>
                </a:solidFill>
              </a:rPr>
              <a:t> </a:t>
            </a:r>
            <a:r>
              <a:rPr lang="fr-FR" err="1">
                <a:solidFill>
                  <a:srgbClr val="6B747B"/>
                </a:solidFill>
              </a:rPr>
              <a:t>Days_May</a:t>
            </a:r>
            <a:r>
              <a:rPr lang="fr-FR">
                <a:solidFill>
                  <a:srgbClr val="6B747B"/>
                </a:solidFill>
              </a:rPr>
              <a:t> 2018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238914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6" y="1023942"/>
            <a:ext cx="7597795" cy="3671887"/>
          </a:xfrm>
        </p:spPr>
        <p:txBody>
          <a:bodyPr/>
          <a:lstStyle>
            <a:lvl1pPr marL="166672" indent="-166672">
              <a:spcBef>
                <a:spcPts val="900"/>
              </a:spcBef>
              <a:buFont typeface="Arial" charset="0"/>
              <a:buChar char="•"/>
              <a:tabLst>
                <a:tab pos="8458942" algn="r"/>
              </a:tabLst>
              <a:defRPr sz="1800" b="0" baseline="0"/>
            </a:lvl1pPr>
            <a:lvl2pPr marL="300008" indent="-133338">
              <a:spcBef>
                <a:spcPts val="0"/>
              </a:spcBef>
              <a:buFont typeface="Arial" charset="0"/>
              <a:buChar char="•"/>
              <a:tabLst>
                <a:tab pos="8459155" algn="r"/>
              </a:tabLst>
              <a:defRPr sz="1600"/>
            </a:lvl2pPr>
            <a:lvl3pPr marL="271436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674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0" y="273601"/>
            <a:ext cx="8418875" cy="3877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60040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23"/>
          <p:cNvSpPr>
            <a:spLocks noGrp="1"/>
          </p:cNvSpPr>
          <p:nvPr>
            <p:ph type="dt" sz="half" idx="18"/>
          </p:nvPr>
        </p:nvSpPr>
        <p:spPr>
          <a:xfrm>
            <a:off x="7713499" y="4831200"/>
            <a:ext cx="776690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5" name="Espace réservé du pied de page 24"/>
          <p:cNvSpPr>
            <a:spLocks noGrp="1"/>
          </p:cNvSpPr>
          <p:nvPr>
            <p:ph type="ftr" sz="quarter" idx="19"/>
          </p:nvPr>
        </p:nvSpPr>
        <p:spPr>
          <a:xfrm>
            <a:off x="2108863" y="4831200"/>
            <a:ext cx="5781302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B747B"/>
                </a:solidFill>
              </a:rPr>
              <a:t>EM Quaterly analysis</a:t>
            </a:r>
            <a:endParaRPr lang="fr-FR">
              <a:solidFill>
                <a:srgbClr val="6B747B"/>
              </a:solidFill>
            </a:endParaRPr>
          </a:p>
        </p:txBody>
      </p:sp>
      <p:sp>
        <p:nvSpPr>
          <p:cNvPr id="6" name="Espace réservé du numéro de diapositive 2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F9DDA-A648-48BD-84EF-C81321045F2D}" type="slidenum">
              <a:rPr lang="fr-FR">
                <a:solidFill>
                  <a:srgbClr val="6B747B"/>
                </a:solidFill>
              </a:rPr>
              <a:pPr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771684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38969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67496" y="4831176"/>
            <a:ext cx="311061" cy="126958"/>
          </a:xfrm>
        </p:spPr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Nº›</a:t>
            </a:fld>
            <a:endParaRPr lang="en-GB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654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8422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45648CE-E5C3-4CFD-948A-7AD25BC59F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450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208530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5" y="4539426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/>
              <a:t>Subtitle, 24 pts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Picture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, 32 pts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40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5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0" y="987425"/>
            <a:ext cx="4206875" cy="3320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4571999" y="4305029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0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244579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1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title, 32 pts 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1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hapter subtitle, 24 pts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3244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242105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8093040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960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picture, 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1" y="1187355"/>
            <a:ext cx="4206875" cy="350847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4061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HANK YOU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5700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36872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858389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205" indent="-133344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7" indent="0">
              <a:buNone/>
              <a:defRPr/>
            </a:lvl2pPr>
            <a:lvl3pPr marL="685766" indent="0">
              <a:buNone/>
              <a:defRPr/>
            </a:lvl3pPr>
            <a:lvl4pPr marL="1028649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726" y="4830765"/>
            <a:ext cx="31115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85766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685766"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5716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911323"/>
              </p:ext>
            </p:extLst>
          </p:nvPr>
        </p:nvGraphicFramePr>
        <p:xfrm>
          <a:off x="1482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2" y="1192"/>
                        <a:ext cx="1465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grpSp>
        <p:nvGrpSpPr>
          <p:cNvPr id="4" name="McK Title Elements" hidden="1"/>
          <p:cNvGrpSpPr>
            <a:grpSpLocks/>
          </p:cNvGrpSpPr>
          <p:nvPr userDrawn="1"/>
        </p:nvGrpSpPr>
        <p:grpSpPr bwMode="auto">
          <a:xfrm>
            <a:off x="1274900" y="3870743"/>
            <a:ext cx="5476143" cy="470179"/>
            <a:chOff x="1274766" y="4964288"/>
            <a:chExt cx="5477016" cy="627302"/>
          </a:xfrm>
        </p:grpSpPr>
        <p:sp>
          <p:nvSpPr>
            <p:cNvPr id="5" name="McK Document type"/>
            <p:cNvSpPr txBox="1">
              <a:spLocks noChangeArrowheads="1"/>
            </p:cNvSpPr>
            <p:nvPr/>
          </p:nvSpPr>
          <p:spPr bwMode="auto">
            <a:xfrm>
              <a:off x="1274766" y="4964288"/>
              <a:ext cx="5477016" cy="28744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352" eaLnBrk="1" hangingPunct="1">
                <a:defRPr/>
              </a:pPr>
              <a:r>
                <a:rPr lang="en-US" sz="1400">
                  <a:solidFill>
                    <a:srgbClr val="FFFFFF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6" name="McK Date"/>
            <p:cNvSpPr txBox="1">
              <a:spLocks noChangeArrowheads="1"/>
            </p:cNvSpPr>
            <p:nvPr/>
          </p:nvSpPr>
          <p:spPr bwMode="auto">
            <a:xfrm>
              <a:off x="1274766" y="5304149"/>
              <a:ext cx="5477016" cy="28744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352" eaLnBrk="1" hangingPunct="1">
                <a:defRPr/>
              </a:pPr>
              <a:r>
                <a:rPr lang="en-US" sz="1400">
                  <a:solidFill>
                    <a:srgbClr val="FFFFFF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</p:grpSp>
      <p:sp>
        <p:nvSpPr>
          <p:cNvPr id="7" name="Working Draft Text" hidden="1"/>
          <p:cNvSpPr txBox="1">
            <a:spLocks noChangeArrowheads="1"/>
          </p:cNvSpPr>
          <p:nvPr userDrawn="1"/>
        </p:nvSpPr>
        <p:spPr bwMode="auto">
          <a:xfrm>
            <a:off x="1274885" y="629852"/>
            <a:ext cx="993862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 b="1">
                <a:solidFill>
                  <a:srgbClr val="FFFFFF"/>
                </a:solidFill>
                <a:latin typeface="Arial"/>
                <a:ea typeface="ＭＳ Ｐゴシック"/>
              </a:rPr>
              <a:t>WORKING DRAFT</a:t>
            </a:r>
          </a:p>
        </p:txBody>
      </p:sp>
      <p:sp>
        <p:nvSpPr>
          <p:cNvPr id="8" name="Working Draft" hidden="1"/>
          <p:cNvSpPr txBox="1">
            <a:spLocks noChangeArrowheads="1"/>
          </p:cNvSpPr>
          <p:nvPr userDrawn="1"/>
        </p:nvSpPr>
        <p:spPr bwMode="auto">
          <a:xfrm>
            <a:off x="1274896" y="746532"/>
            <a:ext cx="2827697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ＭＳ Ｐゴシック"/>
              </a:rPr>
              <a:t>Last Modified 4/26/2014 10:37 AM India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 userDrawn="1"/>
        </p:nvSpPr>
        <p:spPr bwMode="auto">
          <a:xfrm>
            <a:off x="1274892" y="864405"/>
            <a:ext cx="2507097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2352" eaLnBrk="1" hangingPunct="1"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ＭＳ Ｐゴシック"/>
              </a:rPr>
              <a:t>Printed 4/26/2014 10:12 AM India Standard Time</a:t>
            </a:r>
          </a:p>
        </p:txBody>
      </p:sp>
      <p:pic>
        <p:nvPicPr>
          <p:cNvPr id="10" name="Picture 66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947" y="585796"/>
            <a:ext cx="8716108" cy="135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oc id"/>
          <p:cNvSpPr>
            <a:spLocks noChangeArrowheads="1"/>
          </p:cNvSpPr>
          <p:nvPr userDrawn="1"/>
        </p:nvSpPr>
        <p:spPr bwMode="auto">
          <a:xfrm>
            <a:off x="8272112" y="28583"/>
            <a:ext cx="657957" cy="91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3763" eaLnBrk="0" hangingPunct="0"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1F60A9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endParaRPr lang="en-US" altLang="en-US" sz="800">
              <a:solidFill>
                <a:srgbClr val="444492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381011" y="721528"/>
            <a:ext cx="8598877" cy="4786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352">
              <a:defRPr/>
            </a:pPr>
            <a:endParaRPr lang="en-US" sz="1800">
              <a:solidFill>
                <a:srgbClr val="39397C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04802" y="4208869"/>
            <a:ext cx="8598877" cy="4786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352">
              <a:defRPr/>
            </a:pPr>
            <a:endParaRPr lang="en-US" sz="1800">
              <a:solidFill>
                <a:srgbClr val="39397C"/>
              </a:solidFill>
            </a:endParaRPr>
          </a:p>
        </p:txBody>
      </p:sp>
      <p:sp>
        <p:nvSpPr>
          <p:cNvPr id="2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4325" y="243500"/>
            <a:ext cx="871537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8" name="Groupe 17"/>
          <p:cNvGrpSpPr/>
          <p:nvPr userDrawn="1"/>
        </p:nvGrpSpPr>
        <p:grpSpPr>
          <a:xfrm>
            <a:off x="6165120" y="4815788"/>
            <a:ext cx="2274480" cy="173081"/>
            <a:chOff x="6165120" y="4815788"/>
            <a:chExt cx="2274480" cy="173081"/>
          </a:xfrm>
        </p:grpSpPr>
        <p:sp>
          <p:nvSpPr>
            <p:cNvPr id="19" name="Rectangle 3"/>
            <p:cNvSpPr txBox="1"/>
            <p:nvPr userDrawn="1"/>
          </p:nvSpPr>
          <p:spPr>
            <a:xfrm>
              <a:off x="6165120" y="4816514"/>
              <a:ext cx="1258321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fr-FR"/>
              </a:defPPr>
              <a:lvl1pPr lvl="0" indent="0" defTabSz="913526">
                <a:lnSpc>
                  <a:spcPct val="80000"/>
                </a:lnSpc>
                <a:buClr>
                  <a:srgbClr val="BCA36A"/>
                </a:buClr>
                <a:defRPr sz="700" b="0" i="1" baseline="0">
                  <a:solidFill>
                    <a:srgbClr val="646464"/>
                  </a:solidFill>
                  <a:cs typeface="Arial" pitchFamily="34" charset="0"/>
                </a:defRPr>
              </a:lvl1pPr>
              <a:lvl2pPr marL="197607" lvl="1" indent="-195987" defTabSz="913526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cs typeface="Arial" pitchFamily="34" charset="0"/>
                </a:defRPr>
              </a:lvl2pPr>
              <a:lvl3pPr marL="466481" lvl="2" indent="-267255" defTabSz="913526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cs typeface="Arial" pitchFamily="34" charset="0"/>
                </a:defRPr>
              </a:lvl3pPr>
              <a:lvl4pPr marL="626835" lvl="3" indent="-158733" defTabSz="913526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cs typeface="Arial" pitchFamily="34" charset="0"/>
                </a:defRPr>
              </a:lvl4pPr>
              <a:lvl5pPr marL="765029" lvl="4" indent="-132818" defTabSz="913526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cs typeface="Arial" pitchFamily="34" charset="0"/>
                </a:defRPr>
              </a:lvl9pPr>
            </a:lstStyle>
            <a:p>
              <a:pPr algn="r"/>
              <a:r>
                <a:rPr lang="en-US" sz="700"/>
                <a:t>Do not distribute. Working draft for discussion purpose only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7467600" y="4815788"/>
              <a:ext cx="972000" cy="151686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783"/>
              <a:r>
                <a:rPr lang="fr-FR" sz="1000">
                  <a:solidFill>
                    <a:srgbClr val="FFFFFF"/>
                  </a:solidFill>
                </a:rPr>
                <a:t>CONFIDENTIAL</a:t>
              </a:r>
              <a:endParaRPr lang="en-US" sz="1000">
                <a:solidFill>
                  <a:srgbClr val="FFFFFF"/>
                </a:solidFill>
              </a:endParaRPr>
            </a:p>
          </p:txBody>
        </p:sp>
      </p:grp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444492"/>
                </a:solidFill>
              </a:rPr>
              <a:pPr/>
              <a:t>‹Nº›</a:t>
            </a:fld>
            <a:endParaRPr lang="fr-FR">
              <a:solidFill>
                <a:srgbClr val="444492"/>
              </a:solidFill>
            </a:endParaRPr>
          </a:p>
        </p:txBody>
      </p: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6927"/>
            <a:ext cx="1748862" cy="2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714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85" indent="-133338">
              <a:buSzPct val="8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75" indent="0">
              <a:buNone/>
              <a:defRPr/>
            </a:lvl2pPr>
            <a:lvl3pPr marL="685732" indent="0">
              <a:buNone/>
              <a:defRPr/>
            </a:lvl3pPr>
            <a:lvl4pPr marL="1028598" indent="0">
              <a:buNone/>
              <a:defRPr/>
            </a:lvl4pPr>
            <a:lvl5pPr marL="137146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552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06937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98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74" y="1239838"/>
            <a:ext cx="8420101" cy="310673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18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2817978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75947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>
                <a:solidFill>
                  <a:srgbClr val="6B747B"/>
                </a:solidFill>
              </a:rPr>
              <a:t>Strat</a:t>
            </a:r>
            <a:r>
              <a:rPr lang="fr-FR">
                <a:solidFill>
                  <a:srgbClr val="6B747B"/>
                </a:solidFill>
              </a:rPr>
              <a:t> </a:t>
            </a:r>
            <a:r>
              <a:rPr lang="fr-FR" err="1">
                <a:solidFill>
                  <a:srgbClr val="6B747B"/>
                </a:solidFill>
              </a:rPr>
              <a:t>Days_May</a:t>
            </a:r>
            <a:r>
              <a:rPr lang="fr-FR">
                <a:solidFill>
                  <a:srgbClr val="6B747B"/>
                </a:solidFill>
              </a:rPr>
              <a:t> 2018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381089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6" y="1023942"/>
            <a:ext cx="7597795" cy="3671887"/>
          </a:xfrm>
        </p:spPr>
        <p:txBody>
          <a:bodyPr/>
          <a:lstStyle>
            <a:lvl1pPr marL="166672" indent="-166672">
              <a:spcBef>
                <a:spcPts val="900"/>
              </a:spcBef>
              <a:buFont typeface="Arial" charset="0"/>
              <a:buChar char="•"/>
              <a:tabLst>
                <a:tab pos="8458942" algn="r"/>
              </a:tabLst>
              <a:defRPr sz="1800" b="0" baseline="0"/>
            </a:lvl1pPr>
            <a:lvl2pPr marL="300008" indent="-133338">
              <a:spcBef>
                <a:spcPts val="0"/>
              </a:spcBef>
              <a:buFont typeface="Arial" charset="0"/>
              <a:buChar char="•"/>
              <a:tabLst>
                <a:tab pos="8459155" algn="r"/>
              </a:tabLst>
              <a:defRPr sz="1600"/>
            </a:lvl2pPr>
            <a:lvl3pPr marL="271436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446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0" y="273601"/>
            <a:ext cx="8418875" cy="3877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60040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23"/>
          <p:cNvSpPr>
            <a:spLocks noGrp="1"/>
          </p:cNvSpPr>
          <p:nvPr>
            <p:ph type="dt" sz="half" idx="18"/>
          </p:nvPr>
        </p:nvSpPr>
        <p:spPr>
          <a:xfrm>
            <a:off x="7713499" y="4831200"/>
            <a:ext cx="776690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5" name="Espace réservé du pied de page 24"/>
          <p:cNvSpPr>
            <a:spLocks noGrp="1"/>
          </p:cNvSpPr>
          <p:nvPr>
            <p:ph type="ftr" sz="quarter" idx="19"/>
          </p:nvPr>
        </p:nvSpPr>
        <p:spPr>
          <a:xfrm>
            <a:off x="2108863" y="4831200"/>
            <a:ext cx="5781302" cy="12695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B747B"/>
                </a:solidFill>
              </a:rPr>
              <a:t>EM Quaterly analysis</a:t>
            </a:r>
            <a:endParaRPr lang="fr-FR">
              <a:solidFill>
                <a:srgbClr val="6B747B"/>
              </a:solidFill>
            </a:endParaRPr>
          </a:p>
        </p:txBody>
      </p:sp>
      <p:sp>
        <p:nvSpPr>
          <p:cNvPr id="6" name="Espace réservé du numéro de diapositive 2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F9DDA-A648-48BD-84EF-C81321045F2D}" type="slidenum">
              <a:rPr lang="fr-FR">
                <a:solidFill>
                  <a:srgbClr val="6B747B"/>
                </a:solidFill>
              </a:rPr>
              <a:pPr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04516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B4EA66-59C3-4AE4-9B9D-BF4F5E374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369625C-456E-4471-93E6-29C36BD910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D3992D4-B9FA-45F6-AC9D-240AC36F42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1E65752-1D59-4C38-B516-0F9A8FE0A0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A195E79-0738-49A5-B45E-797843F72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0190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67496" y="4831176"/>
            <a:ext cx="311061" cy="126958"/>
          </a:xfrm>
        </p:spPr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Nº›</a:t>
            </a:fld>
            <a:endParaRPr lang="en-GB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47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6880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45648CE-E5C3-4CFD-948A-7AD25BC59F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42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815"/>
            <a:ext cx="8420101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98549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55" y="4539426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/>
              <a:t>Subtitle, 24 pts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Picture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, 32 pts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785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8" y="4068001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title, 32 pts 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1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hapter subtitle, 24 pts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9" y="4367217"/>
            <a:ext cx="2227262" cy="276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8495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242105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8093040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61696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4" y="1239838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0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0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7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161702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picture, 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1" y="1187355"/>
            <a:ext cx="4206875" cy="350847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8622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HANK YOU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405693"/>
            <a:ext cx="2976562" cy="36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109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58036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17283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205" indent="-133344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7" indent="0">
              <a:buNone/>
              <a:defRPr/>
            </a:lvl2pPr>
            <a:lvl3pPr marL="685766" indent="0">
              <a:buNone/>
              <a:defRPr/>
            </a:lvl3pPr>
            <a:lvl4pPr marL="1028649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726" y="4830765"/>
            <a:ext cx="31115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85766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685766">
                <a:defRPr/>
              </a:pPr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1023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FC81ED-FD59-433E-B9DA-6B19E6FBE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A2F72-512D-4324-A5CE-0D5EAD905F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2E03095-E2F0-4EA9-A0C8-EDE2971398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E913EBC-0C77-46C2-89F4-44657446A15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458744D-9076-4563-8DB1-6B57D7451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4936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85" indent="-133338">
              <a:buSzPct val="8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75" indent="0">
              <a:buNone/>
              <a:defRPr/>
            </a:lvl2pPr>
            <a:lvl3pPr marL="685732" indent="0">
              <a:buNone/>
              <a:defRPr/>
            </a:lvl3pPr>
            <a:lvl4pPr marL="1028598" indent="0">
              <a:buNone/>
              <a:defRPr/>
            </a:lvl4pPr>
            <a:lvl5pPr marL="137146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47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9395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26"/>
            <a:ext cx="8420100" cy="38775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195" indent="-133341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81" indent="0">
              <a:buNone/>
              <a:defRPr/>
            </a:lvl2pPr>
            <a:lvl3pPr marL="685749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917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F0E6BB-9412-4A7B-AC6A-75E00E7DE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D9CC162-2082-49B6-8A6B-320C1E4C08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41AB60A-9A6F-4233-9460-26D0CE422B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BD95978-A0DD-4E1B-A887-43B015FBC92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D6AE99-4EDE-46D9-9966-8FBFCA00D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25983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6" y="1023942"/>
            <a:ext cx="7597795" cy="3671887"/>
          </a:xfrm>
        </p:spPr>
        <p:txBody>
          <a:bodyPr/>
          <a:lstStyle>
            <a:lvl1pPr marL="166672" indent="-166672">
              <a:spcBef>
                <a:spcPts val="900"/>
              </a:spcBef>
              <a:buFont typeface="Arial" charset="0"/>
              <a:buChar char="•"/>
              <a:tabLst>
                <a:tab pos="8458942" algn="r"/>
              </a:tabLst>
              <a:defRPr sz="1800" b="0" baseline="0"/>
            </a:lvl1pPr>
            <a:lvl2pPr marL="300008" indent="-133338">
              <a:spcBef>
                <a:spcPts val="0"/>
              </a:spcBef>
              <a:buFont typeface="Arial" charset="0"/>
              <a:buChar char="•"/>
              <a:tabLst>
                <a:tab pos="8459155" algn="r"/>
              </a:tabLst>
              <a:defRPr sz="1600"/>
            </a:lvl2pPr>
            <a:lvl3pPr marL="271436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EM Quaterly analysi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º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522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theme" Target="../theme/theme3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image" Target="../media/image9.jpeg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59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oleObject" Target="../embeddings/oleObject9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tags" Target="../tags/tag32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image" Target="../media/image9.jpeg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77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oleObject" Target="../embeddings/oleObject1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tags" Target="../tags/tag42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tags" Target="../tags/tag41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image" Target="../media/image9.jpeg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95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oleObject" Target="../embeddings/oleObject24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863CBB-176E-4BB7-A05A-44E228C12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13195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863CBB-176E-4BB7-A05A-44E228C12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E147D8-736A-4A50-889A-4C51FE3D5E1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4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Slide - texte - 1 colonne, corps 28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8862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5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6927"/>
            <a:ext cx="1748862" cy="2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067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4131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386B31-6D39-4CD6-9444-7EA3BD5AE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6276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0" imgH="469" progId="TCLayout.ActiveDocument.1">
                  <p:embed/>
                </p:oleObj>
              </mc:Choice>
              <mc:Fallback>
                <p:oleObj name="think-cell Slide" r:id="rId11" imgW="470" imgH="469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386B31-6D39-4CD6-9444-7EA3BD5AE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A1CBAA-AA1F-4C28-8823-D4F92ABA4030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e</a:t>
            </a:r>
            <a:r>
              <a:rPr lang="en-US" noProof="0"/>
              <a:t> 1er </a:t>
            </a:r>
            <a:r>
              <a:rPr lang="en-US" noProof="0" err="1"/>
              <a:t>niveau</a:t>
            </a:r>
            <a:r>
              <a:rPr lang="en-US" noProof="0"/>
              <a:t>, corps 20</a:t>
            </a:r>
          </a:p>
          <a:p>
            <a:pPr lvl="1"/>
            <a:r>
              <a:rPr lang="en-US" noProof="0" err="1"/>
              <a:t>Texte</a:t>
            </a:r>
            <a:r>
              <a:rPr lang="en-US" noProof="0"/>
              <a:t> 2e </a:t>
            </a:r>
            <a:r>
              <a:rPr lang="en-US" noProof="0" err="1"/>
              <a:t>niveau</a:t>
            </a:r>
            <a:r>
              <a:rPr lang="en-US" noProof="0"/>
              <a:t>, corps 18</a:t>
            </a:r>
          </a:p>
          <a:p>
            <a:pPr lvl="2"/>
            <a:r>
              <a:rPr lang="en-US" noProof="0" err="1"/>
              <a:t>Texte</a:t>
            </a:r>
            <a:r>
              <a:rPr lang="en-US" noProof="0"/>
              <a:t> 3e </a:t>
            </a:r>
            <a:r>
              <a:rPr lang="en-US" noProof="0" err="1"/>
              <a:t>niveau</a:t>
            </a:r>
            <a:r>
              <a:rPr lang="en-US" noProof="0"/>
              <a:t>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6000" y="4825274"/>
            <a:ext cx="49320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8000" y="4831175"/>
            <a:ext cx="936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SEPTEMBER 2020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14" name="Connecteur droit 29"/>
          <p:cNvCxnSpPr/>
          <p:nvPr/>
        </p:nvCxnSpPr>
        <p:spPr>
          <a:xfrm>
            <a:off x="8575675" y="4845105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7795"/>
            <a:ext cx="1748862" cy="215244"/>
          </a:xfrm>
          <a:prstGeom prst="rect">
            <a:avLst/>
          </a:prstGeom>
        </p:spPr>
      </p:pic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358774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608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EB7DBBFA-0E7A-4FB4-8E5E-DE65A30AD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4877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EB7DBBFA-0E7A-4FB4-8E5E-DE65A30AD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AB204-EBE9-41BA-9309-5BAEB2EE519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e</a:t>
            </a:r>
            <a:r>
              <a:rPr lang="en-US" noProof="0"/>
              <a:t> 1er </a:t>
            </a:r>
            <a:r>
              <a:rPr lang="en-US" noProof="0" err="1"/>
              <a:t>niveau</a:t>
            </a:r>
            <a:r>
              <a:rPr lang="en-US" noProof="0"/>
              <a:t>, corps 20</a:t>
            </a:r>
          </a:p>
          <a:p>
            <a:pPr lvl="1"/>
            <a:r>
              <a:rPr lang="en-US" noProof="0" err="1"/>
              <a:t>Texte</a:t>
            </a:r>
            <a:r>
              <a:rPr lang="en-US" noProof="0"/>
              <a:t> 2e </a:t>
            </a:r>
            <a:r>
              <a:rPr lang="en-US" noProof="0" err="1"/>
              <a:t>niveau</a:t>
            </a:r>
            <a:r>
              <a:rPr lang="en-US" noProof="0"/>
              <a:t>, corps 18</a:t>
            </a:r>
          </a:p>
          <a:p>
            <a:pPr lvl="2"/>
            <a:r>
              <a:rPr lang="en-US" noProof="0" err="1"/>
              <a:t>Texte</a:t>
            </a:r>
            <a:r>
              <a:rPr lang="en-US" noProof="0"/>
              <a:t> 3e </a:t>
            </a:r>
            <a:r>
              <a:rPr lang="en-US" noProof="0" err="1"/>
              <a:t>niveau</a:t>
            </a:r>
            <a:r>
              <a:rPr lang="en-US" noProof="0"/>
              <a:t>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8863" y="4831175"/>
            <a:ext cx="49320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VACCINES COMMUNICATION -</a:t>
            </a:r>
            <a:endParaRPr lang="en-US" noProof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6650" y="4831175"/>
            <a:ext cx="9360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SEPTEMBER 2020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14" name="Connecteur droit 29"/>
          <p:cNvCxnSpPr/>
          <p:nvPr/>
        </p:nvCxnSpPr>
        <p:spPr>
          <a:xfrm>
            <a:off x="8575675" y="4845105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358774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  <p:pic>
        <p:nvPicPr>
          <p:cNvPr id="13" name="Image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083" y="4655264"/>
            <a:ext cx="1139390" cy="44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766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8C3C8B-3FEB-417D-B532-FE7672AB1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00356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8C3C8B-3FEB-417D-B532-FE7672AB1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6D291BA-A13A-465C-A1C1-D68DF3A9B53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4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Slide - texte - 1 colonne, corps 28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8862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VID-19 SP Overview – June 2020 - CONFIDENTIAL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4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8575675" y="4845105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6927"/>
            <a:ext cx="1748862" cy="2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15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83078510-5684-4858-94EA-0DAD0D96C1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375033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83078510-5684-4858-94EA-0DAD0D96C1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9D93900-5BA6-4CE5-970B-63CF6CCF08C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Slide - texte - 1 colonne, corps 28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8863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VID-19 Sanofi Pasteur vaccine development plan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4786927"/>
            <a:ext cx="1748862" cy="2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59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B318918-9EF4-40C4-9360-D3555C41A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190794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0" imgH="469" progId="TCLayout.ActiveDocument.1">
                  <p:embed/>
                </p:oleObj>
              </mc:Choice>
              <mc:Fallback>
                <p:oleObj name="think-cell Slide" r:id="rId22" imgW="470" imgH="46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B318918-9EF4-40C4-9360-D3555C41A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909FFE-7785-45CD-8246-783600D8024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11432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 descr="Le vaccin contre la dengue de Sanofi Pasteur enregistré aux Philippines -  Lyonbiopôle L'animateur et guichet unique de la santé en  Auvergne-Rhône-alpes">
            <a:extLst>
              <a:ext uri="{FF2B5EF4-FFF2-40B4-BE49-F238E27FC236}">
                <a16:creationId xmlns:a16="http://schemas.microsoft.com/office/drawing/2014/main" id="{04A73384-A28C-4705-935A-126C0864672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12" t="27122" r="10595" b="31457"/>
          <a:stretch/>
        </p:blipFill>
        <p:spPr bwMode="auto">
          <a:xfrm>
            <a:off x="354305" y="4781408"/>
            <a:ext cx="1471640" cy="21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7238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B318918-9EF4-40C4-9360-D3555C41A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748670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0" imgH="469" progId="TCLayout.ActiveDocument.1">
                  <p:embed/>
                </p:oleObj>
              </mc:Choice>
              <mc:Fallback>
                <p:oleObj name="think-cell Slide" r:id="rId22" imgW="470" imgH="46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B318918-9EF4-40C4-9360-D3555C41A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909FFE-7785-45CD-8246-783600D8024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11432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 descr="Le vaccin contre la dengue de Sanofi Pasteur enregistré aux Philippines -  Lyonbiopôle L'animateur et guichet unique de la santé en  Auvergne-Rhône-alpes">
            <a:extLst>
              <a:ext uri="{FF2B5EF4-FFF2-40B4-BE49-F238E27FC236}">
                <a16:creationId xmlns:a16="http://schemas.microsoft.com/office/drawing/2014/main" id="{04A73384-A28C-4705-935A-126C0864672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12" t="27122" r="10595" b="31457"/>
          <a:stretch/>
        </p:blipFill>
        <p:spPr bwMode="auto">
          <a:xfrm>
            <a:off x="354305" y="4781408"/>
            <a:ext cx="1471640" cy="21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431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B318918-9EF4-40C4-9360-D3555C41A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035254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0" imgH="469" progId="TCLayout.ActiveDocument.1">
                  <p:embed/>
                </p:oleObj>
              </mc:Choice>
              <mc:Fallback>
                <p:oleObj name="think-cell Slide" r:id="rId22" imgW="470" imgH="46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B318918-9EF4-40C4-9360-D3555C41A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909FFE-7785-45CD-8246-783600D8024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273770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11432" y="4831175"/>
            <a:ext cx="5781302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5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fr-FR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5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Nº›</a:t>
            </a:fld>
            <a:endParaRPr lang="fr-FR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8" name="Picture 2" descr="Le vaccin contre la dengue de Sanofi Pasteur enregistré aux Philippines -  Lyonbiopôle L'animateur et guichet unique de la santé en  Auvergne-Rhône-alpes">
            <a:extLst>
              <a:ext uri="{FF2B5EF4-FFF2-40B4-BE49-F238E27FC236}">
                <a16:creationId xmlns:a16="http://schemas.microsoft.com/office/drawing/2014/main" id="{04A73384-A28C-4705-935A-126C0864672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12" t="27122" r="10595" b="31457"/>
          <a:stretch/>
        </p:blipFill>
        <p:spPr bwMode="auto">
          <a:xfrm>
            <a:off x="354305" y="4781408"/>
            <a:ext cx="1471640" cy="21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1813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2C7B354-E2F9-4139-A482-84B6E002E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00746C4-0BC7-45B8-B5A4-EFBE420C45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771001-5E71-48BC-8C9E-E3A8E8F54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048C4F-DDE0-4B78-8CCF-7509ABD04111}" type="datetimeFigureOut">
              <a:rPr lang="es-AR" smtClean="0"/>
              <a:t>10/8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D1D0B2-29B4-4383-9F31-D6B090773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002E3-D4BB-4374-A57C-C1C6470305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00698-4930-4D7A-BA10-2C77ADA1320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2311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  <p:sldLayoutId id="2147484107" r:id="rId3"/>
    <p:sldLayoutId id="2147484108" r:id="rId4"/>
    <p:sldLayoutId id="2147484109" r:id="rId5"/>
    <p:sldLayoutId id="2147484110" r:id="rId6"/>
    <p:sldLayoutId id="2147484111" r:id="rId7"/>
    <p:sldLayoutId id="2147484112" r:id="rId8"/>
    <p:sldLayoutId id="2147484113" r:id="rId9"/>
    <p:sldLayoutId id="2147484114" r:id="rId10"/>
    <p:sldLayoutId id="21474841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C98E968-FA3C-48FE-9CD7-F1E2449DC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8731" y="0"/>
            <a:ext cx="3787072" cy="103100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A77BFD2-5120-4355-A516-CFFB13FC13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5350722" cy="980390"/>
          </a:xfrm>
          <a:prstGeom prst="rect">
            <a:avLst/>
          </a:prstGeom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5F2FC396-4C19-458B-909F-CB57D417A56C}"/>
              </a:ext>
            </a:extLst>
          </p:cNvPr>
          <p:cNvGrpSpPr/>
          <p:nvPr/>
        </p:nvGrpSpPr>
        <p:grpSpPr>
          <a:xfrm>
            <a:off x="5208730" y="1286113"/>
            <a:ext cx="3398655" cy="980390"/>
            <a:chOff x="2647763" y="3488756"/>
            <a:chExt cx="3398655" cy="980390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9FBD5422-B131-479B-BB9D-4E37A713D262}"/>
                </a:ext>
              </a:extLst>
            </p:cNvPr>
            <p:cNvSpPr/>
            <p:nvPr/>
          </p:nvSpPr>
          <p:spPr>
            <a:xfrm>
              <a:off x="2647763" y="3488756"/>
              <a:ext cx="3398655" cy="980390"/>
            </a:xfrm>
            <a:prstGeom prst="roundRect">
              <a:avLst/>
            </a:prstGeom>
            <a:solidFill>
              <a:srgbClr val="D1DF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/>
            </a:p>
          </p:txBody>
        </p:sp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2413E0A5-F1C6-4BD2-A6ED-F5983A1B9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15057" y="3594679"/>
              <a:ext cx="3264068" cy="723937"/>
            </a:xfrm>
            <a:prstGeom prst="rect">
              <a:avLst/>
            </a:prstGeom>
          </p:spPr>
        </p:pic>
      </p:grpSp>
      <p:sp>
        <p:nvSpPr>
          <p:cNvPr id="22" name="Lágrima 21">
            <a:extLst>
              <a:ext uri="{FF2B5EF4-FFF2-40B4-BE49-F238E27FC236}">
                <a16:creationId xmlns:a16="http://schemas.microsoft.com/office/drawing/2014/main" id="{AFD4B621-2618-42DD-A26B-A6C798176EDC}"/>
              </a:ext>
            </a:extLst>
          </p:cNvPr>
          <p:cNvSpPr/>
          <p:nvPr/>
        </p:nvSpPr>
        <p:spPr>
          <a:xfrm flipH="1">
            <a:off x="5996763" y="2334856"/>
            <a:ext cx="2838893" cy="939972"/>
          </a:xfrm>
          <a:prstGeom prst="teardrop">
            <a:avLst/>
          </a:prstGeom>
          <a:solidFill>
            <a:srgbClr val="D1DFE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A1B4EBA9-47B6-4EC3-8478-169336EA82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4346" y="4749286"/>
            <a:ext cx="2136297" cy="456613"/>
          </a:xfrm>
          <a:prstGeom prst="rect">
            <a:avLst/>
          </a:prstGeom>
          <a:effectLst/>
        </p:spPr>
      </p:pic>
      <p:grpSp>
        <p:nvGrpSpPr>
          <p:cNvPr id="27" name="Grupo 26">
            <a:extLst>
              <a:ext uri="{FF2B5EF4-FFF2-40B4-BE49-F238E27FC236}">
                <a16:creationId xmlns:a16="http://schemas.microsoft.com/office/drawing/2014/main" id="{6C5CD03F-6B3E-48F4-A7C0-03876D1B2AD0}"/>
              </a:ext>
            </a:extLst>
          </p:cNvPr>
          <p:cNvGrpSpPr/>
          <p:nvPr/>
        </p:nvGrpSpPr>
        <p:grpSpPr>
          <a:xfrm>
            <a:off x="5242760" y="3301325"/>
            <a:ext cx="3688589" cy="1432290"/>
            <a:chOff x="3681876" y="3002145"/>
            <a:chExt cx="4208994" cy="1591745"/>
          </a:xfrm>
        </p:grpSpPr>
        <p:sp>
          <p:nvSpPr>
            <p:cNvPr id="26" name="Rectángulo: esquinas redondeadas 25">
              <a:extLst>
                <a:ext uri="{FF2B5EF4-FFF2-40B4-BE49-F238E27FC236}">
                  <a16:creationId xmlns:a16="http://schemas.microsoft.com/office/drawing/2014/main" id="{903AD6F2-F820-4608-97CF-39A82C3D1CD6}"/>
                </a:ext>
              </a:extLst>
            </p:cNvPr>
            <p:cNvSpPr/>
            <p:nvPr/>
          </p:nvSpPr>
          <p:spPr>
            <a:xfrm>
              <a:off x="3681876" y="3002145"/>
              <a:ext cx="4208994" cy="1591745"/>
            </a:xfrm>
            <a:prstGeom prst="roundRect">
              <a:avLst/>
            </a:prstGeom>
            <a:solidFill>
              <a:srgbClr val="ECEE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/>
            </a:p>
          </p:txBody>
        </p:sp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814B2E03-B40B-4923-AFE6-A62A8463BE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6836" t="25840" r="1531"/>
            <a:stretch/>
          </p:blipFill>
          <p:spPr>
            <a:xfrm>
              <a:off x="3871627" y="3117911"/>
              <a:ext cx="3950402" cy="1376620"/>
            </a:xfrm>
            <a:prstGeom prst="rect">
              <a:avLst/>
            </a:prstGeom>
          </p:spPr>
        </p:pic>
      </p:grp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5817013-F3F9-4C18-9C66-B19A8CBE07E7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B8DA4C00-3959-4551-8198-FA1165C31FC7}"/>
              </a:ext>
            </a:extLst>
          </p:cNvPr>
          <p:cNvGrpSpPr/>
          <p:nvPr/>
        </p:nvGrpSpPr>
        <p:grpSpPr>
          <a:xfrm>
            <a:off x="143117" y="1086068"/>
            <a:ext cx="4551438" cy="1873346"/>
            <a:chOff x="153749" y="1298719"/>
            <a:chExt cx="4551438" cy="1873346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9214A038-C03C-45B9-B58E-FC5A34DA5850}"/>
                </a:ext>
              </a:extLst>
            </p:cNvPr>
            <p:cNvGrpSpPr/>
            <p:nvPr/>
          </p:nvGrpSpPr>
          <p:grpSpPr>
            <a:xfrm>
              <a:off x="153749" y="1298719"/>
              <a:ext cx="4551438" cy="1873346"/>
              <a:chOff x="655454" y="2176758"/>
              <a:chExt cx="4944233" cy="2201033"/>
            </a:xfrm>
          </p:grpSpPr>
          <p:sp>
            <p:nvSpPr>
              <p:cNvPr id="5" name="Rectángulo: esquinas redondeadas 4">
                <a:extLst>
                  <a:ext uri="{FF2B5EF4-FFF2-40B4-BE49-F238E27FC236}">
                    <a16:creationId xmlns:a16="http://schemas.microsoft.com/office/drawing/2014/main" id="{F15228B1-85A6-4C38-B466-1F63BD0D3218}"/>
                  </a:ext>
                </a:extLst>
              </p:cNvPr>
              <p:cNvSpPr/>
              <p:nvPr/>
            </p:nvSpPr>
            <p:spPr>
              <a:xfrm>
                <a:off x="655454" y="2176758"/>
                <a:ext cx="4944233" cy="2201033"/>
              </a:xfrm>
              <a:prstGeom prst="roundRect">
                <a:avLst/>
              </a:prstGeom>
              <a:solidFill>
                <a:srgbClr val="D1DF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/>
              </a:p>
            </p:txBody>
          </p:sp>
          <p:pic>
            <p:nvPicPr>
              <p:cNvPr id="6" name="Imagen 5">
                <a:extLst>
                  <a:ext uri="{FF2B5EF4-FFF2-40B4-BE49-F238E27FC236}">
                    <a16:creationId xmlns:a16="http://schemas.microsoft.com/office/drawing/2014/main" id="{2E0B9696-A44C-416B-8735-3215B92BF8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28985" y="2293651"/>
                <a:ext cx="4572235" cy="2019404"/>
              </a:xfrm>
              <a:prstGeom prst="rect">
                <a:avLst/>
              </a:prstGeom>
            </p:spPr>
          </p:pic>
        </p:grpSp>
        <p:pic>
          <p:nvPicPr>
            <p:cNvPr id="2" name="Imagen 1">
              <a:extLst>
                <a:ext uri="{FF2B5EF4-FFF2-40B4-BE49-F238E27FC236}">
                  <a16:creationId xmlns:a16="http://schemas.microsoft.com/office/drawing/2014/main" id="{DE1A59F3-2D75-4EC7-8296-236E67A18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0380" t="9998" r="8233" b="4391"/>
            <a:stretch/>
          </p:blipFill>
          <p:spPr>
            <a:xfrm>
              <a:off x="321851" y="1480456"/>
              <a:ext cx="479654" cy="420915"/>
            </a:xfrm>
            <a:prstGeom prst="ellipse">
              <a:avLst/>
            </a:prstGeom>
          </p:spPr>
        </p:pic>
      </p:grp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0767EA83-3D67-4642-A63C-8F1054DE03BC}"/>
              </a:ext>
            </a:extLst>
          </p:cNvPr>
          <p:cNvSpPr/>
          <p:nvPr/>
        </p:nvSpPr>
        <p:spPr>
          <a:xfrm>
            <a:off x="127591" y="3115340"/>
            <a:ext cx="4954772" cy="1921835"/>
          </a:xfrm>
          <a:prstGeom prst="roundRect">
            <a:avLst/>
          </a:prstGeom>
          <a:solidFill>
            <a:srgbClr val="D1DFE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C4B59868-666B-4AA6-8C1D-B2EAF73295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1287" y="3242154"/>
            <a:ext cx="438150" cy="46672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7A1B4826-3C02-4A9F-A452-7F803FB0C36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2552" y="4490928"/>
            <a:ext cx="410462" cy="457200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EF276DC4-FBF6-4F2E-BCA1-418E3070BF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4831" y="3851754"/>
            <a:ext cx="438150" cy="466725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E00B8405-3765-4E67-B9A3-8AC5BDC4BFF7}"/>
              </a:ext>
            </a:extLst>
          </p:cNvPr>
          <p:cNvSpPr txBox="1"/>
          <p:nvPr/>
        </p:nvSpPr>
        <p:spPr>
          <a:xfrm>
            <a:off x="903766" y="3274828"/>
            <a:ext cx="40829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Un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ÚNICA</a:t>
            </a:r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 dosis de 0,5ml tanto par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pediatría</a:t>
            </a:r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 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partir de los 6 meses de edad</a:t>
            </a:r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, como par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adultos.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59B0B61C-A018-4CD9-92DC-2B1A52EA7944}"/>
              </a:ext>
            </a:extLst>
          </p:cNvPr>
          <p:cNvSpPr txBox="1"/>
          <p:nvPr/>
        </p:nvSpPr>
        <p:spPr>
          <a:xfrm>
            <a:off x="882502" y="4550735"/>
            <a:ext cx="3944680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Aprobada par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uso durante el embarazo.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D10B1F91-CB21-4CF6-95CD-37E020FF90A8}"/>
              </a:ext>
            </a:extLst>
          </p:cNvPr>
          <p:cNvSpPr txBox="1"/>
          <p:nvPr/>
        </p:nvSpPr>
        <p:spPr>
          <a:xfrm>
            <a:off x="903766" y="3785189"/>
            <a:ext cx="419986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Niños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menores de 9 años </a:t>
            </a:r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que no hayan sido vacunados anteriormente, deberán administrarse una </a:t>
            </a:r>
            <a:r>
              <a:rPr lang="es-AR" sz="1200" b="1" dirty="0">
                <a:solidFill>
                  <a:srgbClr val="525CA3"/>
                </a:solidFill>
                <a:latin typeface="Century Gothic" panose="020B0502020202020204" pitchFamily="34" charset="0"/>
              </a:rPr>
              <a:t>segunda dosis </a:t>
            </a:r>
            <a:r>
              <a:rPr lang="es-AR" sz="1200" dirty="0">
                <a:solidFill>
                  <a:srgbClr val="525CA3"/>
                </a:solidFill>
                <a:latin typeface="Century Gothic" panose="020B0502020202020204" pitchFamily="34" charset="0"/>
              </a:rPr>
              <a:t>después de al menos 4 semanas.</a:t>
            </a: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3C8B33F7-83E3-4805-8A71-264652F5A07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26852" y="2434856"/>
            <a:ext cx="1419225" cy="7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771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a46ff5ee9be7182789b8e0de6ea5edbf9f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AIyhDJb2EGE6HISGo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BFALg7ijyWNoDgCoZP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LmCwHTewOTPzI9eKHx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yT2b_OlcwcgF8oxCd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mAfp8DUttrQhkRaVXd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WLQztBOKnrnEi2ifSU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u06HohC4D50FRjEes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rWQzRTc.7xefvdJmE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MQX.sz8S_5CfJmyqDI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HYHcXrqgG9Wgu.QCb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u06HohC4D50FRjEes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rWQzRTc.7xefvdJmE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0HYHcXrqgG9Wgu.QCb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u06HohC4D50FRjEe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grYWwofvLo7umahTaE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h9wogFQIXwA1.UHk2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3ek_wHdG40MQAnj_uGw"/>
</p:tagLst>
</file>

<file path=ppt/theme/theme1.xml><?xml version="1.0" encoding="utf-8"?>
<a:theme xmlns:a="http://schemas.openxmlformats.org/drawingml/2006/main" name="Sanofi_Pasteur_Slide Kit_EN_16-9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Thè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Thè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Thè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nofi PowerPoint corporate template with logos" id="{CA562F23-1DCA-9245-8B9B-3D0DCA6E5037}" vid="{3BE82A1B-F2F3-8C48-805C-CA01461BEABD}"/>
    </a:ext>
  </a:extLst>
</a:theme>
</file>

<file path=ppt/theme/theme5.xml><?xml version="1.0" encoding="utf-8"?>
<a:theme xmlns:a="http://schemas.openxmlformats.org/drawingml/2006/main" name="3_Sanofi_Pasteur_Slide Kit_EN_16-9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Sanofi_Pasteur_Slide Kit_EN_16-9s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Sanofi_Pasteur_Slide Kit_EN_16-9s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Sanofi_Pasteur_Slide Kit_EN_16-9s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8079BA084914FA1838323D6E091F3" ma:contentTypeVersion="5" ma:contentTypeDescription="Create a new document." ma:contentTypeScope="" ma:versionID="b37410e161929e8b5ca2a4a1e6fa01d7">
  <xsd:schema xmlns:xsd="http://www.w3.org/2001/XMLSchema" xmlns:xs="http://www.w3.org/2001/XMLSchema" xmlns:p="http://schemas.microsoft.com/office/2006/metadata/properties" xmlns:ns3="d43494e5-5641-44d3-9adf-cec5d1fecbe4" xmlns:ns4="e7c29bef-2f19-4934-b70c-37f96e20744d" targetNamespace="http://schemas.microsoft.com/office/2006/metadata/properties" ma:root="true" ma:fieldsID="5a3dc0c291d8adcd5ed01165c47f49a3" ns3:_="" ns4:_="">
    <xsd:import namespace="d43494e5-5641-44d3-9adf-cec5d1fecbe4"/>
    <xsd:import namespace="e7c29bef-2f19-4934-b70c-37f96e20744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3494e5-5641-44d3-9adf-cec5d1fecb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c29bef-2f19-4934-b70c-37f96e20744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D24E14-C4AC-455F-B2E2-F83D2D22177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01E496-2104-4875-BBC0-3DE65900C6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3494e5-5641-44d3-9adf-cec5d1fecbe4"/>
    <ds:schemaRef ds:uri="e7c29bef-2f19-4934-b70c-37f96e2074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F37C6D-23D3-4E90-99F7-30A1595C04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</Words>
  <Application>Microsoft Office PowerPoint</Application>
  <PresentationFormat>Presentación en pantalla (16:9)</PresentationFormat>
  <Paragraphs>4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0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Wingdings</vt:lpstr>
      <vt:lpstr>Sanofi_Pasteur_Slide Kit_EN_16-9</vt:lpstr>
      <vt:lpstr>4_Thème SANOFI</vt:lpstr>
      <vt:lpstr>5_Thème SANOFI</vt:lpstr>
      <vt:lpstr>6_Thème SANOFI</vt:lpstr>
      <vt:lpstr>3_Sanofi_Pasteur_Slide Kit_EN_16-9</vt:lpstr>
      <vt:lpstr>3_Sanofi_Pasteur_Slide Kit_EN_16-9s</vt:lpstr>
      <vt:lpstr>4_Sanofi_Pasteur_Slide Kit_EN_16-9s</vt:lpstr>
      <vt:lpstr>5_Sanofi_Pasteur_Slide Kit_EN_16-9s</vt:lpstr>
      <vt:lpstr>Tema de Office</vt:lpstr>
      <vt:lpstr>Tema de Office</vt:lpstr>
      <vt:lpstr>think-cell Slid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modified xsi:type="dcterms:W3CDTF">2021-08-11T14:5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8079BA084914FA1838323D6E091F3</vt:lpwstr>
  </property>
</Properties>
</file>